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4" r:id="rId2"/>
  </p:sldMasterIdLst>
  <p:notesMasterIdLst>
    <p:notesMasterId r:id="rId15"/>
  </p:notesMasterIdLst>
  <p:sldIdLst>
    <p:sldId id="265" r:id="rId3"/>
    <p:sldId id="495" r:id="rId4"/>
    <p:sldId id="264" r:id="rId5"/>
    <p:sldId id="475" r:id="rId6"/>
    <p:sldId id="476" r:id="rId7"/>
    <p:sldId id="477" r:id="rId8"/>
    <p:sldId id="478" r:id="rId9"/>
    <p:sldId id="479" r:id="rId10"/>
    <p:sldId id="480" r:id="rId11"/>
    <p:sldId id="481" r:id="rId12"/>
    <p:sldId id="496" r:id="rId13"/>
    <p:sldId id="482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rly Marek" initials="CM" lastIdx="3" clrIdx="0">
    <p:extLst>
      <p:ext uri="{19B8F6BF-5375-455C-9EA6-DF929625EA0E}">
        <p15:presenceInfo xmlns:p15="http://schemas.microsoft.com/office/powerpoint/2012/main" userId="S::Carly.Marek@bgis.com::80d3de50-9a79-4c2a-9250-059360ed4fcf" providerId="AD"/>
      </p:ext>
    </p:extLst>
  </p:cmAuthor>
  <p:cmAuthor id="2" name="Carine Pare" initials="CP" lastIdx="8" clrIdx="1">
    <p:extLst>
      <p:ext uri="{19B8F6BF-5375-455C-9EA6-DF929625EA0E}">
        <p15:presenceInfo xmlns:p15="http://schemas.microsoft.com/office/powerpoint/2012/main" userId="S::Carine.Pare@tpsgc-pwgsc.gc.ca::71f88b2f-db4c-4269-9577-1025f7fc654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9786"/>
    <a:srgbClr val="A8CE75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98" autoAdjust="0"/>
    <p:restoredTop sz="78143" autoAdjust="0"/>
  </p:normalViewPr>
  <p:slideViewPr>
    <p:cSldViewPr snapToGrid="0">
      <p:cViewPr varScale="1">
        <p:scale>
          <a:sx n="88" d="100"/>
          <a:sy n="88" d="100"/>
        </p:scale>
        <p:origin x="1356" y="10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47754B-DBB1-42E7-94DA-0F9CA7FD7F05}" type="datetimeFigureOut">
              <a:rPr lang="en-US" smtClean="0"/>
              <a:t>5/2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6718E7-4186-453C-A82F-0673DEC0A2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5539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31449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6382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15352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55481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46321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52969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33370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18603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7295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32658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74988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47866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54008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5399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17401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62224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9174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66708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5238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85798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78590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30743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44770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D1646C-BC13-433C-AAF5-CDA9E1C7E476}" type="datetimeFigureOut">
              <a:rPr lang="en-US" smtClean="0"/>
              <a:t>5/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294DA4-2137-4C1A-8AEE-43812BE2A8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944942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D1646C-BC13-433C-AAF5-CDA9E1C7E476}" type="datetimeFigureOut">
              <a:rPr lang="en-US" smtClean="0"/>
              <a:t>5/2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294DA4-2137-4C1A-8AEE-43812BE2A8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240825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09851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5422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8858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89960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724403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73031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27678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2075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4853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38058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98144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38228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00001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7829964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619473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863756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198507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482919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808534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44464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47581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6005099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06111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56626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255786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326690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568147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078119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709803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996572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0674497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9963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772069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04506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8881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95116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29418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41471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8870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oleObject" Target="../embeddings/oleObject8.bin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tags" Target="../tags/tag8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image" Target="../media/image1.emf"/><Relationship Id="rId30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4538779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473" imgH="473" progId="TCLayout.ActiveDocument.1">
                  <p:embed/>
                </p:oleObj>
              </mc:Choice>
              <mc:Fallback>
                <p:oleObj name="think-cell Slide" r:id="rId29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Image result for canada wordmark">
            <a:hlinkClick r:id="rId31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450" y="6374859"/>
            <a:ext cx="2036645" cy="250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11901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710" r:id="rId24"/>
    <p:sldLayoutId id="2147483711" r:id="rId25"/>
    <p:sldLayoutId id="2147483708" r:id="rId2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7512852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73" imgH="473" progId="TCLayout.ActiveDocument.1">
                  <p:embed/>
                </p:oleObj>
              </mc:Choice>
              <mc:Fallback>
                <p:oleObj name="think-cell Slide" r:id="rId26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Image result for canada wordmark">
            <a:hlinkClick r:id="rId28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450" y="6374859"/>
            <a:ext cx="2036645" cy="250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602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705" r:id="rId21"/>
    <p:sldLayoutId id="2147483706" r:id="rId22"/>
    <p:sldLayoutId id="2147483707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8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00D8FBA-BD9E-4E13-A0AD-B19456A637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8206" y="1386097"/>
            <a:ext cx="2423793" cy="3749996"/>
          </a:xfrm>
          <a:prstGeom prst="rect">
            <a:avLst/>
          </a:prstGeom>
        </p:spPr>
      </p:pic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C93DBE18-8F20-40EE-8C64-637065DB21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9450176"/>
              </p:ext>
            </p:extLst>
          </p:nvPr>
        </p:nvGraphicFramePr>
        <p:xfrm>
          <a:off x="324115" y="1215458"/>
          <a:ext cx="9561540" cy="4427083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492510">
                  <a:extLst>
                    <a:ext uri="{9D8B030D-6E8A-4147-A177-3AD203B41FA5}">
                      <a16:colId xmlns:a16="http://schemas.microsoft.com/office/drawing/2014/main" val="1553875949"/>
                    </a:ext>
                  </a:extLst>
                </a:gridCol>
                <a:gridCol w="6069030">
                  <a:extLst>
                    <a:ext uri="{9D8B030D-6E8A-4147-A177-3AD203B41FA5}">
                      <a16:colId xmlns:a16="http://schemas.microsoft.com/office/drawing/2014/main" val="848242381"/>
                    </a:ext>
                  </a:extLst>
                </a:gridCol>
              </a:tblGrid>
              <a:tr h="408568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oster Ty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Lo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63706422"/>
                  </a:ext>
                </a:extLst>
              </a:tr>
              <a:tr h="40856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Surplus IT Equipment Area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lace over large box for assets and peripherals in a central are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6633375"/>
                  </a:ext>
                </a:extLst>
              </a:tr>
              <a:tr h="5708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Surplus Furni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lace over a station equipped with post-it notes and sharpie markers in a central area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74963152"/>
                  </a:ext>
                </a:extLst>
              </a:tr>
              <a:tr h="40856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aper Recycl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lace over or on a paper recycling bin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93102229"/>
                  </a:ext>
                </a:extLst>
              </a:tr>
              <a:tr h="5708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Shredd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lace over shredding bins/stations already located within your office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05600322"/>
                  </a:ext>
                </a:extLst>
              </a:tr>
              <a:tr h="40856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Surplus Office Suppl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lace over a large box to accommodate additional stationary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3272967"/>
                  </a:ext>
                </a:extLst>
              </a:tr>
              <a:tr h="5708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Medi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lace over a large box that can accommodate media items to be destroyed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6462344"/>
                  </a:ext>
                </a:extLst>
              </a:tr>
              <a:tr h="40856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Garb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lace over garbage stations already located within your offic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60785067"/>
                  </a:ext>
                </a:extLst>
              </a:tr>
              <a:tr h="335809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Reclam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lace over a large box that can accommodate equipment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0570545"/>
                  </a:ext>
                </a:extLst>
              </a:tr>
              <a:tr h="335809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Disinfe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lace over an area that houses all disinfection supplies and PP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32721163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70854D44-A7DC-8187-4223-42D6D3A8903E}"/>
              </a:ext>
            </a:extLst>
          </p:cNvPr>
          <p:cNvSpPr/>
          <p:nvPr/>
        </p:nvSpPr>
        <p:spPr>
          <a:xfrm>
            <a:off x="-236" y="-6952"/>
            <a:ext cx="12192235" cy="835027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E190600-9936-3842-78F3-7C56E187A1C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3665" y="160256"/>
            <a:ext cx="570187" cy="49721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3852" y="6875"/>
            <a:ext cx="10275206" cy="835027"/>
          </a:xfrm>
        </p:spPr>
        <p:txBody>
          <a:bodyPr>
            <a:normAutofit fontScale="90000"/>
          </a:bodyPr>
          <a:lstStyle/>
          <a:p>
            <a:r>
              <a:rPr lang="en-US" b="0" dirty="0">
                <a:solidFill>
                  <a:schemeClr val="bg1"/>
                </a:solidFill>
                <a:latin typeface="Arial Rounded MT Bold" panose="020F0704030504030204" pitchFamily="34" charset="0"/>
              </a:rPr>
              <a:t>Print a set of event day posters for each floor or team. See below for additional set up instructions.  </a:t>
            </a:r>
          </a:p>
        </p:txBody>
      </p:sp>
    </p:spTree>
    <p:extLst>
      <p:ext uri="{BB962C8B-B14F-4D97-AF65-F5344CB8AC3E}">
        <p14:creationId xmlns:p14="http://schemas.microsoft.com/office/powerpoint/2010/main" val="6236830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88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IT EQUIPMENT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urplus IT equipment and peripherals should be placed here to return to IT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ank you for participating</a:t>
            </a:r>
          </a:p>
        </p:txBody>
      </p:sp>
      <p:pic>
        <p:nvPicPr>
          <p:cNvPr id="7" name="Graphic 6" descr="Warning symbol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61602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78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RETAINED ASSET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ll sorted business assets identified for retention. Please label and identify according to the instructions provided in your guide.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ank you for participating</a:t>
            </a:r>
          </a:p>
        </p:txBody>
      </p:sp>
      <p:pic>
        <p:nvPicPr>
          <p:cNvPr id="7" name="Graphic 6" descr="Warning symbol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920416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96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DISINFECTING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lease use the provided sanitization items to clean all contacted surfaces. PPE is also provided, please wear as advise.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ank you for participating</a:t>
            </a:r>
          </a:p>
        </p:txBody>
      </p:sp>
      <p:pic>
        <p:nvPicPr>
          <p:cNvPr id="7" name="Graphic 6" descr="Warning symbol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48335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8788" y="2551289"/>
            <a:ext cx="10874424" cy="2829094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66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Clean-up </a:t>
            </a:r>
            <a:r>
              <a:rPr kumimoji="0" lang="en-CA" altLang="en-US" sz="6600" b="1" i="0" u="none" strike="noStrike" kern="1200" cap="none" spc="0" normalizeH="0" baseline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Captain</a:t>
            </a:r>
            <a:r>
              <a:rPr kumimoji="0" lang="fr-FR" altLang="en-US" sz="66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 Hub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lease collect all clean-up materials required. Clean-up Captain can assist with any questions.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ank you for participatin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45DDE6-FF04-4CDF-BBD0-3E30035338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283198" y="2213992"/>
            <a:ext cx="1625601" cy="38875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pic>
        <p:nvPicPr>
          <p:cNvPr id="9" name="Picture 8" descr="Person symbol">
            <a:extLst>
              <a:ext uri="{FF2B5EF4-FFF2-40B4-BE49-F238E27FC236}">
                <a16:creationId xmlns:a16="http://schemas.microsoft.com/office/drawing/2014/main" id="{7C2CAD73-DBCE-45ED-BA27-56AA3F0E1E5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42749" y="1231902"/>
            <a:ext cx="1896447" cy="1896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67876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96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SHREDDING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lease ensure that the material is eligible for shredding.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ank you for participating</a:t>
            </a:r>
          </a:p>
        </p:txBody>
      </p:sp>
      <p:pic>
        <p:nvPicPr>
          <p:cNvPr id="7" name="Graphic 6" descr="Warning symbol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99902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96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GARBAGE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lease separate garbage from recyclables and place all garbage in the designated bin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ank you for participating</a:t>
            </a:r>
          </a:p>
        </p:txBody>
      </p:sp>
      <p:pic>
        <p:nvPicPr>
          <p:cNvPr id="7" name="Graphic 6" descr="Warning symbol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5968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96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MEDIA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ll types of CDs, DVDs, etc. that require secure disposal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ank you for participating</a:t>
            </a:r>
          </a:p>
        </p:txBody>
      </p:sp>
      <p:pic>
        <p:nvPicPr>
          <p:cNvPr id="7" name="Graphic 6" descr="Warning symbol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07473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96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RECLAMATION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ll surplus assets (technology) should be marked and place here. If it is too heavy to relocate, please label accordingly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ank you for participating</a:t>
            </a:r>
          </a:p>
        </p:txBody>
      </p:sp>
      <p:pic>
        <p:nvPicPr>
          <p:cNvPr id="7" name="Graphic 6" descr="Warning symbol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3015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72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PAPER RECYCLING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lease separate paper from other materials (i.e. plastic and metal). All secure documents past their retention period should be shredded.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ank you for participating</a:t>
            </a:r>
          </a:p>
        </p:txBody>
      </p:sp>
      <p:pic>
        <p:nvPicPr>
          <p:cNvPr id="7" name="Graphic 6" descr="Warning symbol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43224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80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OFFICE SUPPLIE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lace surplus office supplies in the designated boxes. This includes pens, notebooks, staplers, rulers, scissors, binders or any other usable office supplies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ank you for participating</a:t>
            </a:r>
          </a:p>
        </p:txBody>
      </p:sp>
      <p:pic>
        <p:nvPicPr>
          <p:cNvPr id="7" name="Graphic 6" descr="Warning symbol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82417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66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SURPLUS FURNITURE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ark all unused and broken furniture as “surplus” using the labels provided.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ank you for participating</a:t>
            </a:r>
          </a:p>
        </p:txBody>
      </p:sp>
      <p:pic>
        <p:nvPicPr>
          <p:cNvPr id="7" name="Graphic 6" descr="Warning symbol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75568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749</TotalTime>
  <Words>416</Words>
  <Application>Microsoft Office PowerPoint</Application>
  <PresentationFormat>Widescreen</PresentationFormat>
  <Paragraphs>69</Paragraphs>
  <Slides>12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Arial</vt:lpstr>
      <vt:lpstr>Arial Black</vt:lpstr>
      <vt:lpstr>Arial Rounded MT Bold</vt:lpstr>
      <vt:lpstr>Calibri</vt:lpstr>
      <vt:lpstr>Calibri Light</vt:lpstr>
      <vt:lpstr>Georgia</vt:lpstr>
      <vt:lpstr>1_Office Theme</vt:lpstr>
      <vt:lpstr>2_Office Theme</vt:lpstr>
      <vt:lpstr>think-cell Slide</vt:lpstr>
      <vt:lpstr>Print a set of event day posters for each floor or team. See below for additional set up instructions.  </vt:lpstr>
      <vt:lpstr>Clean-up Captain Hub Please collect all clean-up materials required. Clean-up Captain can assist with any questions.  Thank you for participating</vt:lpstr>
      <vt:lpstr>SHREDDING Please ensure that the material is eligible for shredding.  Thank you for participating</vt:lpstr>
      <vt:lpstr>GARBAGE Please separate garbage from recyclables and place all garbage in the designated bin.  Thank you for participating</vt:lpstr>
      <vt:lpstr>MEDIA All types of CDs, DVDs, etc. that require secure disposal.  Thank you for participating</vt:lpstr>
      <vt:lpstr>RECLAMATION All surplus assets (technology) should be marked and place here. If it is too heavy to relocate, please label accordingly.  Thank you for participating</vt:lpstr>
      <vt:lpstr>PAPER RECYCLING Please separate paper from other materials (i.e. plastic and metal). All secure documents past their retention period should be shredded.   Thank you for participating</vt:lpstr>
      <vt:lpstr>OFFICE SUPPLIES Place surplus office supplies in the designated boxes. This includes pens, notebooks, staplers, rulers, scissors, binders or any other usable office supplies.   Thank you for participating</vt:lpstr>
      <vt:lpstr>SURPLUS FURNITURE Mark all unused and broken furniture as “surplus” using the labels provided.   Thank you for participating</vt:lpstr>
      <vt:lpstr>IT EQUIPMENT Surplus IT equipment and peripherals should be placed here to return to IT.  Thank you for participating</vt:lpstr>
      <vt:lpstr>RETAINED ASSETS All sorted business assets identified for retention. Please label and identify according to the instructions provided in your guide.   Thank you for participating</vt:lpstr>
      <vt:lpstr>DISINFECTING Please use the provided sanitization items to clean all contacted surfaces. PPE is also provided, please wear as advise.  Thank you for participating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ader Package</dc:title>
  <dc:creator>Louise Hamelin-Yavo</dc:creator>
  <cp:lastModifiedBy>Genereux, Sophie (SPAC/PSPC) (elle-la / she-her)</cp:lastModifiedBy>
  <cp:revision>72</cp:revision>
  <dcterms:created xsi:type="dcterms:W3CDTF">2016-09-22T13:56:19Z</dcterms:created>
  <dcterms:modified xsi:type="dcterms:W3CDTF">2023-05-02T16:53:14Z</dcterms:modified>
</cp:coreProperties>
</file>